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90" r:id="rId5"/>
    <p:sldMasterId id="2147483710" r:id="rId6"/>
    <p:sldMasterId id="2147483728" r:id="rId7"/>
  </p:sldMasterIdLst>
  <p:notesMasterIdLst>
    <p:notesMasterId r:id="rId17"/>
  </p:notesMasterIdLst>
  <p:handoutMasterIdLst>
    <p:handoutMasterId r:id="rId18"/>
  </p:handoutMasterIdLst>
  <p:sldIdLst>
    <p:sldId id="421" r:id="rId8"/>
    <p:sldId id="616" r:id="rId9"/>
    <p:sldId id="620" r:id="rId10"/>
    <p:sldId id="622" r:id="rId11"/>
    <p:sldId id="619" r:id="rId12"/>
    <p:sldId id="624" r:id="rId13"/>
    <p:sldId id="625" r:id="rId14"/>
    <p:sldId id="621" r:id="rId15"/>
    <p:sldId id="584" r:id="rId16"/>
  </p:sldIdLst>
  <p:sldSz cx="12192000" cy="6858000"/>
  <p:notesSz cx="6858000" cy="9144000"/>
  <p:custDataLst>
    <p:tags r:id="rId1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yush Rathi1" initials="PR" lastIdx="1" clrIdx="4">
    <p:extLst/>
  </p:cmAuthor>
  <p:cmAuthor id="2" name="Vertika Rai" initials="VR" lastIdx="22" clrIdx="1">
    <p:extLst/>
  </p:cmAuthor>
  <p:cmAuthor id="3" name="Karan Ashara" initials="KA" lastIdx="34" clrIdx="2">
    <p:extLst/>
  </p:cmAuthor>
  <p:cmAuthor id="4" name="Parkar, Mandar (C)" initials="PM(" lastIdx="3" clrIdx="3">
    <p:extLst/>
  </p:cmAuthor>
  <p:cmAuthor id="5" name="Upadhyay, Saurabh" initials="US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B"/>
    <a:srgbClr val="FE0000"/>
    <a:srgbClr val="FFFFFF"/>
    <a:srgbClr val="BAFFFB"/>
    <a:srgbClr val="F2F2F2"/>
    <a:srgbClr val="E9E9E9"/>
    <a:srgbClr val="00B4A7"/>
    <a:srgbClr val="C00000"/>
    <a:srgbClr val="00ABEB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65" autoAdjust="0"/>
    <p:restoredTop sz="93883" autoAdjust="0"/>
  </p:normalViewPr>
  <p:slideViewPr>
    <p:cSldViewPr snapToGrid="0">
      <p:cViewPr>
        <p:scale>
          <a:sx n="80" d="100"/>
          <a:sy n="80" d="100"/>
        </p:scale>
        <p:origin x="660" y="-66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02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14-1-2020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14-1-2020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698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55155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8786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341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4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85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084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7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5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1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50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2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0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25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1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5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1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997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9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6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75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3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62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4999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2444358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71462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047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394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076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96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6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44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37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2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13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76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1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809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893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71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8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21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19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3078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6" r:id="rId16"/>
    <p:sldLayoutId id="214748370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1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791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hoek 69">
            <a:extLst>
              <a:ext uri="{FF2B5EF4-FFF2-40B4-BE49-F238E27FC236}">
                <a16:creationId xmlns:a16="http://schemas.microsoft.com/office/drawing/2014/main" id="{529DDD94-DE2F-4AA8-88E1-1B4BB698131E}"/>
              </a:ext>
            </a:extLst>
          </p:cNvPr>
          <p:cNvSpPr/>
          <p:nvPr/>
        </p:nvSpPr>
        <p:spPr>
          <a:xfrm>
            <a:off x="0" y="0"/>
            <a:ext cx="12192000" cy="1151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1CA85DC-4DEF-47F2-9E6D-EB718A85D9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72" name="Rechthoek 71">
            <a:extLst>
              <a:ext uri="{FF2B5EF4-FFF2-40B4-BE49-F238E27FC236}">
                <a16:creationId xmlns:a16="http://schemas.microsoft.com/office/drawing/2014/main" id="{32160439-F406-4D6E-8C00-6C6E651235AD}"/>
              </a:ext>
            </a:extLst>
          </p:cNvPr>
          <p:cNvSpPr/>
          <p:nvPr/>
        </p:nvSpPr>
        <p:spPr>
          <a:xfrm rot="10800000" flipV="1">
            <a:off x="0" y="-216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45368125-8D6E-4328-929D-2ACE1A29C8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1159174"/>
            <a:ext cx="8797839" cy="5698826"/>
          </a:xfrm>
        </p:spPr>
        <p:txBody>
          <a:bodyPr/>
          <a:lstStyle/>
          <a:p>
            <a:endParaRPr lang="en-GB" dirty="0">
              <a:noFill/>
            </a:endParaRP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B436DF22-24B8-475A-8692-C184ED83C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181" y="1951725"/>
            <a:ext cx="6844406" cy="1263618"/>
          </a:xfrm>
        </p:spPr>
        <p:txBody>
          <a:bodyPr/>
          <a:lstStyle/>
          <a:p>
            <a:r>
              <a:rPr lang="en-GB" dirty="0">
                <a:latin typeface="GothamBlack" charset="0"/>
              </a:rPr>
              <a:t>CPQ – </a:t>
            </a:r>
            <a:r>
              <a:rPr lang="en-GB" dirty="0" smtClean="0">
                <a:latin typeface="GothamBlack" charset="0"/>
              </a:rPr>
              <a:t>Asia Alignment</a:t>
            </a: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sz="2800" i="1" dirty="0">
                <a:latin typeface="GothamBlack" charset="0"/>
              </a:rPr>
              <a:t>Design and Mock Up</a:t>
            </a:r>
            <a:br>
              <a:rPr lang="en-GB" sz="2800" i="1" dirty="0">
                <a:latin typeface="GothamBlack" charset="0"/>
              </a:rPr>
            </a:br>
            <a:r>
              <a:rPr lang="en-GB" sz="2800" i="1" dirty="0" smtClean="0">
                <a:latin typeface="GothamBlack" charset="0"/>
              </a:rPr>
              <a:t>Nov </a:t>
            </a:r>
            <a:r>
              <a:rPr lang="en-GB" sz="2800" i="1" dirty="0">
                <a:latin typeface="GothamBlack" charset="0"/>
              </a:rPr>
              <a:t>‘19</a:t>
            </a:r>
            <a:endParaRPr lang="en-GB" dirty="0"/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9268398B-03CD-446A-A535-ED5D1462F9D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0AFBD613-E4E9-4EE8-B1CB-1F6B50F72820}"/>
              </a:ext>
            </a:extLst>
          </p:cNvPr>
          <p:cNvSpPr/>
          <p:nvPr/>
        </p:nvSpPr>
        <p:spPr>
          <a:xfrm>
            <a:off x="10894100" y="71407"/>
            <a:ext cx="12875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82D2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421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2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1600" dirty="0"/>
              <a:t>Document Release and Change Log Detai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044260"/>
              </p:ext>
            </p:extLst>
          </p:nvPr>
        </p:nvGraphicFramePr>
        <p:xfrm>
          <a:off x="381217" y="620204"/>
          <a:ext cx="11429562" cy="1990191"/>
        </p:xfrm>
        <a:graphic>
          <a:graphicData uri="http://schemas.openxmlformats.org/drawingml/2006/table">
            <a:tbl>
              <a:tblPr/>
              <a:tblGrid>
                <a:gridCol w="1632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7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39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PQ Asia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3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rsion Number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latin typeface="+mj-lt"/>
                        </a:rPr>
                        <a:t>20th Nov, </a:t>
                      </a:r>
                      <a:r>
                        <a:rPr lang="en-GB" sz="1400" baseline="0" dirty="0">
                          <a:latin typeface="+mj-lt"/>
                        </a:rPr>
                        <a:t>2019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lo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I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nage Order Interfac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IN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+mj-lt"/>
                        <a:buAutoNum type="arabicPeriod" startAt="2"/>
                        <a:tabLst/>
                      </a:pP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86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3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Order Interface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1613400"/>
              </p:ext>
            </p:extLst>
          </p:nvPr>
        </p:nvGraphicFramePr>
        <p:xfrm>
          <a:off x="143690" y="666212"/>
          <a:ext cx="11639007" cy="60655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83361">
                  <a:extLst>
                    <a:ext uri="{9D8B030D-6E8A-4147-A177-3AD203B41FA5}">
                      <a16:colId xmlns:a16="http://schemas.microsoft.com/office/drawing/2014/main" val="4143855275"/>
                    </a:ext>
                  </a:extLst>
                </a:gridCol>
                <a:gridCol w="1295968">
                  <a:extLst>
                    <a:ext uri="{9D8B030D-6E8A-4147-A177-3AD203B41FA5}">
                      <a16:colId xmlns:a16="http://schemas.microsoft.com/office/drawing/2014/main" val="3415695082"/>
                    </a:ext>
                  </a:extLst>
                </a:gridCol>
                <a:gridCol w="947265">
                  <a:extLst>
                    <a:ext uri="{9D8B030D-6E8A-4147-A177-3AD203B41FA5}">
                      <a16:colId xmlns:a16="http://schemas.microsoft.com/office/drawing/2014/main" val="1478477753"/>
                    </a:ext>
                  </a:extLst>
                </a:gridCol>
                <a:gridCol w="1334493">
                  <a:extLst>
                    <a:ext uri="{9D8B030D-6E8A-4147-A177-3AD203B41FA5}">
                      <a16:colId xmlns:a16="http://schemas.microsoft.com/office/drawing/2014/main" val="2949764307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725364234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2955709167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4172891152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1732481103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3609004536"/>
                    </a:ext>
                  </a:extLst>
                </a:gridCol>
              </a:tblGrid>
              <a:tr h="1632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Attribute 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Discussion – 17</a:t>
                      </a:r>
                      <a:r>
                        <a:rPr lang="en-GB" sz="1200" baseline="30000" dirty="0">
                          <a:effectLst/>
                        </a:rPr>
                        <a:t>th</a:t>
                      </a:r>
                      <a:r>
                        <a:rPr lang="en-GB" sz="1200" dirty="0">
                          <a:effectLst/>
                        </a:rPr>
                        <a:t> Dec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Actio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Discussion – 18</a:t>
                      </a:r>
                      <a:r>
                        <a:rPr lang="en-GB" sz="1200" baseline="30000" dirty="0">
                          <a:effectLst/>
                        </a:rPr>
                        <a:t>th</a:t>
                      </a:r>
                      <a:r>
                        <a:rPr lang="en-GB" sz="1200" dirty="0">
                          <a:effectLst/>
                        </a:rPr>
                        <a:t> Dec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Impac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ndatory/Optiona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ength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ata Typ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duct Impacted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884459064"/>
                  </a:ext>
                </a:extLst>
              </a:tr>
              <a:tr h="65314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Legal Party Name (Native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PQ does not need to pass this attribute to Siebel . Siebel will get this info from C4C – Siebel interface.</a:t>
                      </a:r>
                      <a:endParaRPr lang="en-GB" sz="11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onfirmed with Amar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Agree with the discussion on 17</a:t>
                      </a:r>
                      <a:r>
                        <a:rPr lang="en-GB" sz="1100" baseline="30000">
                          <a:effectLst/>
                        </a:rPr>
                        <a:t>th</a:t>
                      </a:r>
                      <a:r>
                        <a:rPr lang="en-GB" sz="1100">
                          <a:effectLst/>
                        </a:rPr>
                        <a:t> 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</a:rPr>
                        <a:t>No</a:t>
                      </a:r>
                      <a:r>
                        <a:rPr lang="en-GB" sz="1100" baseline="0" dirty="0" smtClean="0">
                          <a:effectLst/>
                        </a:rPr>
                        <a:t> change in the interfa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0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r>
                        <a:rPr lang="en-GB" sz="11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(Kanji Character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771230062"/>
                  </a:ext>
                </a:extLst>
              </a:tr>
              <a:tr h="65314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Legal Address (Native)</a:t>
                      </a:r>
                      <a:endParaRPr lang="en-GB" sz="11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PQ does not need to pass this attribute to Siebel . Siebel will get this info from C4C – Siebel interface.</a:t>
                      </a:r>
                      <a:endParaRPr lang="en-GB" sz="11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onfirmed with Amar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Agree with the discussion on 17</a:t>
                      </a:r>
                      <a:r>
                        <a:rPr lang="en-GB" sz="1100" baseline="30000">
                          <a:effectLst/>
                        </a:rPr>
                        <a:t>th</a:t>
                      </a:r>
                      <a:r>
                        <a:rPr lang="en-GB" sz="1100">
                          <a:effectLst/>
                        </a:rPr>
                        <a:t> 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</a:rPr>
                        <a:t>No</a:t>
                      </a:r>
                      <a:r>
                        <a:rPr lang="en-GB" sz="1100" baseline="0" dirty="0" smtClean="0">
                          <a:effectLst/>
                        </a:rPr>
                        <a:t> change in the interfa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00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r>
                        <a:rPr lang="en-GB" sz="11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(Kanji Character)</a:t>
                      </a:r>
                      <a:endParaRPr lang="en-GB" sz="11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978577595"/>
                  </a:ext>
                </a:extLst>
              </a:tr>
              <a:tr h="65314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ervice Party Name (Native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o this to Siebel . This is mapped with Company name in CPQ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his info for both A End and B End (as applicable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Agree with the discussion on 17</a:t>
                      </a:r>
                      <a:r>
                        <a:rPr lang="en-GB" sz="1100" baseline="30000">
                          <a:effectLst/>
                        </a:rPr>
                        <a:t>th</a:t>
                      </a:r>
                      <a:r>
                        <a:rPr lang="en-GB" sz="1100">
                          <a:effectLst/>
                        </a:rPr>
                        <a:t> 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wM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Siebel – Accept and store at correct pla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0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r>
                        <a:rPr lang="en-GB" sz="11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(Kanji Character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</a:t>
                      </a: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. This is required for both A End and B End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97591702"/>
                  </a:ext>
                </a:extLst>
              </a:tr>
              <a:tr h="979713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ite </a:t>
                      </a:r>
                      <a:r>
                        <a:rPr lang="en-US" sz="1100" dirty="0" smtClean="0">
                          <a:effectLst/>
                        </a:rPr>
                        <a:t>Address: </a:t>
                      </a:r>
                      <a:r>
                        <a:rPr lang="en-US" sz="1100" dirty="0">
                          <a:effectLst/>
                        </a:rPr>
                        <a:t/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Street Name (Native) 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City/Town (Native) </a:t>
                      </a:r>
                      <a:endParaRPr lang="en-GB" sz="1100" dirty="0">
                        <a:effectLst/>
                      </a:endParaRPr>
                    </a:p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tate (Native) </a:t>
                      </a:r>
                      <a:endParaRPr lang="en-GB" sz="1100" dirty="0">
                        <a:effectLst/>
                      </a:endParaRPr>
                    </a:p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uilding Name (Native) 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o this to Siebel 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his info for both A End and B End (as applicable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r>
                        <a:rPr lang="en-GB" sz="1100" dirty="0" smtClean="0">
                          <a:effectLst/>
                        </a:rPr>
                        <a:t>- State needs</a:t>
                      </a:r>
                      <a:r>
                        <a:rPr lang="en-GB" sz="1100" baseline="0" dirty="0" smtClean="0">
                          <a:effectLst/>
                        </a:rPr>
                        <a:t> to be mapped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Agree with the discussion on 17</a:t>
                      </a:r>
                      <a:r>
                        <a:rPr lang="en-GB" sz="1100" baseline="30000">
                          <a:effectLst/>
                        </a:rPr>
                        <a:t>th</a:t>
                      </a:r>
                      <a:r>
                        <a:rPr lang="en-GB" sz="1100">
                          <a:effectLst/>
                        </a:rPr>
                        <a:t> 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wM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Siebel – Accept and store at correct pla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reet Name (100)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ity (100)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ate</a:t>
                      </a:r>
                      <a:r>
                        <a:rPr lang="en-GB" sz="11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(100)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ilding Name (100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r>
                        <a:rPr lang="en-GB" sz="11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(Kanji Character)</a:t>
                      </a:r>
                      <a:endParaRPr lang="en-GB" sz="11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</a:t>
                      </a: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licable </a:t>
                      </a: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duct . This is required for both A End and B End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067198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291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4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Order Interface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1729878"/>
              </p:ext>
            </p:extLst>
          </p:nvPr>
        </p:nvGraphicFramePr>
        <p:xfrm>
          <a:off x="143690" y="666212"/>
          <a:ext cx="11639007" cy="4892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58663">
                  <a:extLst>
                    <a:ext uri="{9D8B030D-6E8A-4147-A177-3AD203B41FA5}">
                      <a16:colId xmlns:a16="http://schemas.microsoft.com/office/drawing/2014/main" val="4143855275"/>
                    </a:ext>
                  </a:extLst>
                </a:gridCol>
                <a:gridCol w="1520666">
                  <a:extLst>
                    <a:ext uri="{9D8B030D-6E8A-4147-A177-3AD203B41FA5}">
                      <a16:colId xmlns:a16="http://schemas.microsoft.com/office/drawing/2014/main" val="3415695082"/>
                    </a:ext>
                  </a:extLst>
                </a:gridCol>
                <a:gridCol w="947265">
                  <a:extLst>
                    <a:ext uri="{9D8B030D-6E8A-4147-A177-3AD203B41FA5}">
                      <a16:colId xmlns:a16="http://schemas.microsoft.com/office/drawing/2014/main" val="1478477753"/>
                    </a:ext>
                  </a:extLst>
                </a:gridCol>
                <a:gridCol w="1334493">
                  <a:extLst>
                    <a:ext uri="{9D8B030D-6E8A-4147-A177-3AD203B41FA5}">
                      <a16:colId xmlns:a16="http://schemas.microsoft.com/office/drawing/2014/main" val="2949764307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725364234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2955709167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4172891152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1732481103"/>
                    </a:ext>
                  </a:extLst>
                </a:gridCol>
                <a:gridCol w="1415584">
                  <a:extLst>
                    <a:ext uri="{9D8B030D-6E8A-4147-A177-3AD203B41FA5}">
                      <a16:colId xmlns:a16="http://schemas.microsoft.com/office/drawing/2014/main" val="3609004536"/>
                    </a:ext>
                  </a:extLst>
                </a:gridCol>
              </a:tblGrid>
              <a:tr h="1632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Attribute 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Discussion – 17</a:t>
                      </a:r>
                      <a:r>
                        <a:rPr lang="en-GB" sz="1200" baseline="30000" dirty="0">
                          <a:effectLst/>
                        </a:rPr>
                        <a:t>th</a:t>
                      </a:r>
                      <a:r>
                        <a:rPr lang="en-GB" sz="1200" dirty="0">
                          <a:effectLst/>
                        </a:rPr>
                        <a:t> Dec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Actio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Discussion – 18</a:t>
                      </a:r>
                      <a:r>
                        <a:rPr lang="en-GB" sz="1200" baseline="30000" dirty="0">
                          <a:effectLst/>
                        </a:rPr>
                        <a:t>th</a:t>
                      </a:r>
                      <a:r>
                        <a:rPr lang="en-GB" sz="1200" dirty="0">
                          <a:effectLst/>
                        </a:rPr>
                        <a:t> Dec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Impac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ndatory/Optiona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ength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ata Typ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duct Impacted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884459064"/>
                  </a:ext>
                </a:extLst>
              </a:tr>
              <a:tr h="489857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ite Contact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-First Name (Native) Last Name (Native) 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o this to Siebel 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his info for both A End and B End (as applicable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Agree with the discussion on 17</a:t>
                      </a:r>
                      <a:r>
                        <a:rPr lang="en-GB" sz="1100" baseline="30000" dirty="0">
                          <a:effectLst/>
                        </a:rPr>
                        <a:t>th</a:t>
                      </a:r>
                      <a:r>
                        <a:rPr lang="en-GB" sz="1100" dirty="0">
                          <a:effectLst/>
                        </a:rPr>
                        <a:t> 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err="1">
                          <a:effectLst/>
                        </a:rPr>
                        <a:t>wM</a:t>
                      </a:r>
                      <a:r>
                        <a:rPr lang="en-GB" sz="1100" dirty="0">
                          <a:effectLst/>
                        </a:rPr>
                        <a:t>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Siebel – Accept and store at correct pla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First Name (100)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ast Name (100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r>
                        <a:rPr lang="en-GB" sz="11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(Kanji Character)</a:t>
                      </a:r>
                      <a:endParaRPr lang="en-GB" sz="11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. This is required for both A End and B End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674211197"/>
                  </a:ext>
                </a:extLst>
              </a:tr>
              <a:tr h="489857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ustomer Building Name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o this to Siebel 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his info for both A End and B End (as applicable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Agree with the discussion on 17</a:t>
                      </a:r>
                      <a:r>
                        <a:rPr lang="en-GB" sz="1100" baseline="30000">
                          <a:effectLst/>
                        </a:rPr>
                        <a:t>th</a:t>
                      </a:r>
                      <a:r>
                        <a:rPr lang="en-GB" sz="1100">
                          <a:effectLst/>
                        </a:rPr>
                        <a:t> 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err="1">
                          <a:effectLst/>
                        </a:rPr>
                        <a:t>wM</a:t>
                      </a:r>
                      <a:r>
                        <a:rPr lang="en-GB" sz="1100" dirty="0">
                          <a:effectLst/>
                        </a:rPr>
                        <a:t>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Siebel – Accept and store at correct pla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0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. This is required for both A End and B End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858676835"/>
                  </a:ext>
                </a:extLst>
              </a:tr>
              <a:tr h="489857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ustomer Building Name (Native)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o this to Siebel 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CPQ has to send this info for both A End and B End (as applicable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Agree with the discussion on 17</a:t>
                      </a:r>
                      <a:r>
                        <a:rPr lang="en-GB" sz="1100" baseline="30000">
                          <a:effectLst/>
                        </a:rPr>
                        <a:t>th</a:t>
                      </a:r>
                      <a:r>
                        <a:rPr lang="en-GB" sz="1100">
                          <a:effectLst/>
                        </a:rPr>
                        <a:t> 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err="1">
                          <a:effectLst/>
                        </a:rPr>
                        <a:t>wM</a:t>
                      </a:r>
                      <a:r>
                        <a:rPr lang="en-GB" sz="1100" dirty="0">
                          <a:effectLst/>
                        </a:rPr>
                        <a:t>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Siebel – Accept and store at correct pla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0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r>
                        <a:rPr lang="en-GB" sz="11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(Kanji Character)</a:t>
                      </a:r>
                      <a:endParaRPr lang="en-GB" sz="11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. This is required for both A End and B End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27846405"/>
                  </a:ext>
                </a:extLst>
              </a:tr>
              <a:tr h="32657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ill </a:t>
                      </a:r>
                      <a:r>
                        <a:rPr lang="en-US" sz="1100" dirty="0" err="1">
                          <a:effectLst/>
                        </a:rPr>
                        <a:t>Cust</a:t>
                      </a:r>
                      <a:r>
                        <a:rPr lang="en-US" sz="1100" dirty="0">
                          <a:effectLst/>
                        </a:rPr>
                        <a:t> Ref Order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BAU. This field is already been send from CPQ to Sieb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Agree with the discussion on 17</a:t>
                      </a:r>
                      <a:r>
                        <a:rPr lang="en-GB" sz="1100" baseline="30000">
                          <a:effectLst/>
                        </a:rPr>
                        <a:t>th</a:t>
                      </a:r>
                      <a:r>
                        <a:rPr lang="en-GB" sz="1100">
                          <a:effectLst/>
                        </a:rPr>
                        <a:t> 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No </a:t>
                      </a:r>
                      <a:r>
                        <a:rPr lang="en-GB" sz="1100" dirty="0" smtClean="0">
                          <a:effectLst/>
                        </a:rPr>
                        <a:t>change. Already supported in the interfa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917382100"/>
                  </a:ext>
                </a:extLst>
              </a:tr>
              <a:tr h="32657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ill PO Number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BAU. This field is already been send from CPQ to Siebel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Agree with the discussion on 17</a:t>
                      </a:r>
                      <a:r>
                        <a:rPr lang="en-GB" sz="1100" baseline="30000" dirty="0">
                          <a:effectLst/>
                        </a:rPr>
                        <a:t>th</a:t>
                      </a:r>
                      <a:r>
                        <a:rPr lang="en-GB" sz="1100" dirty="0">
                          <a:effectLst/>
                        </a:rPr>
                        <a:t> 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 change. Already supported in the interface</a:t>
                      </a: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065209211"/>
                  </a:ext>
                </a:extLst>
              </a:tr>
              <a:tr h="32657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BB Tariff Name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BAU. This field is already been send from CPQ to Siebel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Agree with the discussion on 17</a:t>
                      </a:r>
                      <a:r>
                        <a:rPr lang="en-GB" sz="1100" baseline="30000" dirty="0">
                          <a:effectLst/>
                        </a:rPr>
                        <a:t>th</a:t>
                      </a:r>
                      <a:r>
                        <a:rPr lang="en-GB" sz="1100" dirty="0">
                          <a:effectLst/>
                        </a:rPr>
                        <a:t> 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 change. Already supported in the interface</a:t>
                      </a: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PAcces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963630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2123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5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Order Interface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594287"/>
              </p:ext>
            </p:extLst>
          </p:nvPr>
        </p:nvGraphicFramePr>
        <p:xfrm>
          <a:off x="143689" y="666212"/>
          <a:ext cx="11874139" cy="6035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73991">
                  <a:extLst>
                    <a:ext uri="{9D8B030D-6E8A-4147-A177-3AD203B41FA5}">
                      <a16:colId xmlns:a16="http://schemas.microsoft.com/office/drawing/2014/main" val="4143855275"/>
                    </a:ext>
                  </a:extLst>
                </a:gridCol>
                <a:gridCol w="1551387">
                  <a:extLst>
                    <a:ext uri="{9D8B030D-6E8A-4147-A177-3AD203B41FA5}">
                      <a16:colId xmlns:a16="http://schemas.microsoft.com/office/drawing/2014/main" val="3415695082"/>
                    </a:ext>
                  </a:extLst>
                </a:gridCol>
                <a:gridCol w="966402">
                  <a:extLst>
                    <a:ext uri="{9D8B030D-6E8A-4147-A177-3AD203B41FA5}">
                      <a16:colId xmlns:a16="http://schemas.microsoft.com/office/drawing/2014/main" val="1478477753"/>
                    </a:ext>
                  </a:extLst>
                </a:gridCol>
                <a:gridCol w="1361454">
                  <a:extLst>
                    <a:ext uri="{9D8B030D-6E8A-4147-A177-3AD203B41FA5}">
                      <a16:colId xmlns:a16="http://schemas.microsoft.com/office/drawing/2014/main" val="2949764307"/>
                    </a:ext>
                  </a:extLst>
                </a:gridCol>
                <a:gridCol w="1444181">
                  <a:extLst>
                    <a:ext uri="{9D8B030D-6E8A-4147-A177-3AD203B41FA5}">
                      <a16:colId xmlns:a16="http://schemas.microsoft.com/office/drawing/2014/main" val="725364234"/>
                    </a:ext>
                  </a:extLst>
                </a:gridCol>
                <a:gridCol w="1444181">
                  <a:extLst>
                    <a:ext uri="{9D8B030D-6E8A-4147-A177-3AD203B41FA5}">
                      <a16:colId xmlns:a16="http://schemas.microsoft.com/office/drawing/2014/main" val="1377987631"/>
                    </a:ext>
                  </a:extLst>
                </a:gridCol>
                <a:gridCol w="1444181">
                  <a:extLst>
                    <a:ext uri="{9D8B030D-6E8A-4147-A177-3AD203B41FA5}">
                      <a16:colId xmlns:a16="http://schemas.microsoft.com/office/drawing/2014/main" val="1630199536"/>
                    </a:ext>
                  </a:extLst>
                </a:gridCol>
                <a:gridCol w="1444181">
                  <a:extLst>
                    <a:ext uri="{9D8B030D-6E8A-4147-A177-3AD203B41FA5}">
                      <a16:colId xmlns:a16="http://schemas.microsoft.com/office/drawing/2014/main" val="3948283564"/>
                    </a:ext>
                  </a:extLst>
                </a:gridCol>
                <a:gridCol w="1444181">
                  <a:extLst>
                    <a:ext uri="{9D8B030D-6E8A-4147-A177-3AD203B41FA5}">
                      <a16:colId xmlns:a16="http://schemas.microsoft.com/office/drawing/2014/main" val="4253859642"/>
                    </a:ext>
                  </a:extLst>
                </a:gridCol>
              </a:tblGrid>
              <a:tr h="1002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ttribute Nam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Discussion – 17</a:t>
                      </a:r>
                      <a:r>
                        <a:rPr lang="en-GB" sz="1200" baseline="30000">
                          <a:effectLst/>
                        </a:rPr>
                        <a:t>th</a:t>
                      </a:r>
                      <a:r>
                        <a:rPr lang="en-GB" sz="1200">
                          <a:effectLst/>
                        </a:rPr>
                        <a:t> Dec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ction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Discussion – 18</a:t>
                      </a:r>
                      <a:r>
                        <a:rPr lang="en-GB" sz="1200" baseline="30000">
                          <a:effectLst/>
                        </a:rPr>
                        <a:t>th</a:t>
                      </a:r>
                      <a:r>
                        <a:rPr lang="en-GB" sz="1200">
                          <a:effectLst/>
                        </a:rPr>
                        <a:t> Dec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Impac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ndatory/Optiona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ength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ata Typ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duct Impacted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884459064"/>
                  </a:ext>
                </a:extLst>
              </a:tr>
              <a:tr h="501277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elay </a:t>
                      </a:r>
                      <a:r>
                        <a:rPr lang="en-US" sz="1200" dirty="0" err="1">
                          <a:effectLst/>
                        </a:rPr>
                        <a:t>Fibre</a:t>
                      </a:r>
                      <a:endParaRPr lang="en-GB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To be confirmed with Vivek Hr/Gaurav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s per Amrendra, </a:t>
                      </a:r>
                      <a:r>
                        <a:rPr lang="en-US" sz="1200">
                          <a:effectLst/>
                        </a:rPr>
                        <a:t>this field calculated in Siebel</a:t>
                      </a:r>
                      <a:endParaRPr lang="en-GB" sz="12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heck with Sourav Dasgupta whether it will be automatically calculated for Manage Order. If it can be auto calculated , CPQ should not be sending this info Siebel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r>
                        <a:rPr lang="en-GB" sz="1200" dirty="0" smtClean="0">
                          <a:effectLst/>
                        </a:rPr>
                        <a:t>CPQ</a:t>
                      </a:r>
                      <a:r>
                        <a:rPr lang="en-GB" sz="1200" baseline="0" dirty="0" smtClean="0">
                          <a:effectLst/>
                        </a:rPr>
                        <a:t> has to send this information to Siebel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baseline="0" dirty="0" smtClean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baseline="0" dirty="0" smtClean="0">
                          <a:effectLst/>
                        </a:rPr>
                        <a:t>XSD updates to checked with Amar</a:t>
                      </a:r>
                      <a:endParaRPr lang="en-GB" sz="1200" dirty="0" smtClean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OV</a:t>
                      </a:r>
                      <a:r>
                        <a:rPr lang="en-GB" sz="12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(Value: Yes/No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. This is required for both A End and B End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545302862"/>
                  </a:ext>
                </a:extLst>
              </a:tr>
              <a:tr h="501277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Ordering Party Address</a:t>
                      </a:r>
                      <a:br>
                        <a:rPr lang="en-US" sz="1200">
                          <a:effectLst/>
                        </a:rPr>
                      </a:br>
                      <a:r>
                        <a:rPr lang="en-US" sz="1200">
                          <a:effectLst/>
                        </a:rPr>
                        <a:t>-Street Name (N) City/Town (N) State (N) Building Name (N) 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PQ does not need to send Ordering party Address( Asia) to Siebel</a:t>
                      </a:r>
                      <a:endParaRPr lang="en-GB" sz="12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Ordering Party Address (English) – Captured in Siebel manually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heck whether CPQ sends the Ordering Party Contact to Siebel?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Who update the Ordering Party Address in Siebel(to be checked)?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r>
                        <a:rPr lang="en-GB" sz="1200" dirty="0" smtClean="0">
                          <a:effectLst/>
                        </a:rPr>
                        <a:t>OP Address will not be send</a:t>
                      </a:r>
                      <a:r>
                        <a:rPr lang="en-GB" sz="1200" baseline="0" dirty="0" smtClean="0">
                          <a:effectLst/>
                        </a:rPr>
                        <a:t> from CPQ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125163305"/>
                  </a:ext>
                </a:extLst>
              </a:tr>
              <a:tr h="300766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BMO Charges RC</a:t>
                      </a:r>
                      <a:endParaRPr lang="en-GB" sz="1200">
                        <a:effectLst/>
                      </a:endParaRPr>
                    </a:p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BMO Charges NRC</a:t>
                      </a:r>
                      <a:endParaRPr lang="en-GB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onfirmed with Sourav Dasgupta , Siebel expects BMO charges for Hong Kong from CPQ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PQ has to send this info to Seibel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Siebel has raised a CR to handle this. Check with Abrar on delivery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hange required in CPQ – Siebel </a:t>
                      </a:r>
                      <a:r>
                        <a:rPr lang="en-GB" sz="1200" dirty="0" smtClean="0">
                          <a:effectLst/>
                        </a:rPr>
                        <a:t>interfac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err="1" smtClean="0">
                          <a:effectLst/>
                        </a:rPr>
                        <a:t>wM</a:t>
                      </a:r>
                      <a:r>
                        <a:rPr lang="en-GB" sz="1200" dirty="0" smtClean="0">
                          <a:effectLst/>
                        </a:rPr>
                        <a:t>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Siebel – Accept and store at correct place</a:t>
                      </a:r>
                      <a:endParaRPr lang="en-GB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0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umeric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. This is required for both A End and B End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2588261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270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6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Order Interface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12866"/>
              </p:ext>
            </p:extLst>
          </p:nvPr>
        </p:nvGraphicFramePr>
        <p:xfrm>
          <a:off x="143689" y="666212"/>
          <a:ext cx="11874139" cy="62309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05842">
                  <a:extLst>
                    <a:ext uri="{9D8B030D-6E8A-4147-A177-3AD203B41FA5}">
                      <a16:colId xmlns:a16="http://schemas.microsoft.com/office/drawing/2014/main" val="4143855275"/>
                    </a:ext>
                  </a:extLst>
                </a:gridCol>
                <a:gridCol w="1319536">
                  <a:extLst>
                    <a:ext uri="{9D8B030D-6E8A-4147-A177-3AD203B41FA5}">
                      <a16:colId xmlns:a16="http://schemas.microsoft.com/office/drawing/2014/main" val="3415695082"/>
                    </a:ext>
                  </a:extLst>
                </a:gridCol>
                <a:gridCol w="966402">
                  <a:extLst>
                    <a:ext uri="{9D8B030D-6E8A-4147-A177-3AD203B41FA5}">
                      <a16:colId xmlns:a16="http://schemas.microsoft.com/office/drawing/2014/main" val="1478477753"/>
                    </a:ext>
                  </a:extLst>
                </a:gridCol>
                <a:gridCol w="1361454">
                  <a:extLst>
                    <a:ext uri="{9D8B030D-6E8A-4147-A177-3AD203B41FA5}">
                      <a16:colId xmlns:a16="http://schemas.microsoft.com/office/drawing/2014/main" val="2949764307"/>
                    </a:ext>
                  </a:extLst>
                </a:gridCol>
                <a:gridCol w="2048014">
                  <a:extLst>
                    <a:ext uri="{9D8B030D-6E8A-4147-A177-3AD203B41FA5}">
                      <a16:colId xmlns:a16="http://schemas.microsoft.com/office/drawing/2014/main" val="725364234"/>
                    </a:ext>
                  </a:extLst>
                </a:gridCol>
                <a:gridCol w="840348">
                  <a:extLst>
                    <a:ext uri="{9D8B030D-6E8A-4147-A177-3AD203B41FA5}">
                      <a16:colId xmlns:a16="http://schemas.microsoft.com/office/drawing/2014/main" val="1377987631"/>
                    </a:ext>
                  </a:extLst>
                </a:gridCol>
                <a:gridCol w="1444181">
                  <a:extLst>
                    <a:ext uri="{9D8B030D-6E8A-4147-A177-3AD203B41FA5}">
                      <a16:colId xmlns:a16="http://schemas.microsoft.com/office/drawing/2014/main" val="1630199536"/>
                    </a:ext>
                  </a:extLst>
                </a:gridCol>
                <a:gridCol w="1444181">
                  <a:extLst>
                    <a:ext uri="{9D8B030D-6E8A-4147-A177-3AD203B41FA5}">
                      <a16:colId xmlns:a16="http://schemas.microsoft.com/office/drawing/2014/main" val="3948283564"/>
                    </a:ext>
                  </a:extLst>
                </a:gridCol>
                <a:gridCol w="1444181">
                  <a:extLst>
                    <a:ext uri="{9D8B030D-6E8A-4147-A177-3AD203B41FA5}">
                      <a16:colId xmlns:a16="http://schemas.microsoft.com/office/drawing/2014/main" val="4253859642"/>
                    </a:ext>
                  </a:extLst>
                </a:gridCol>
              </a:tblGrid>
              <a:tr h="1002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ttribute Nam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Discussion – 17</a:t>
                      </a:r>
                      <a:r>
                        <a:rPr lang="en-GB" sz="1200" baseline="30000">
                          <a:effectLst/>
                        </a:rPr>
                        <a:t>th</a:t>
                      </a:r>
                      <a:r>
                        <a:rPr lang="en-GB" sz="1200">
                          <a:effectLst/>
                        </a:rPr>
                        <a:t> Dec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ction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Discussion – 18</a:t>
                      </a:r>
                      <a:r>
                        <a:rPr lang="en-GB" sz="1200" baseline="30000">
                          <a:effectLst/>
                        </a:rPr>
                        <a:t>th</a:t>
                      </a:r>
                      <a:r>
                        <a:rPr lang="en-GB" sz="1200">
                          <a:effectLst/>
                        </a:rPr>
                        <a:t> Dec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Impac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ndatory/Optiona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ength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ata Typ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duct Impacted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884459064"/>
                  </a:ext>
                </a:extLst>
              </a:tr>
              <a:tr h="1841857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esiliency </a:t>
                      </a:r>
                      <a:endParaRPr lang="en-GB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For Wave , CPQ will send a new value ‘</a:t>
                      </a:r>
                      <a:r>
                        <a:rPr lang="en-GB" sz="1200" b="1" dirty="0">
                          <a:effectLst/>
                        </a:rPr>
                        <a:t>Backbone Protected</a:t>
                      </a:r>
                      <a:r>
                        <a:rPr lang="en-GB" sz="1200" dirty="0">
                          <a:effectLst/>
                        </a:rPr>
                        <a:t>’ in the resiliency attribute</a:t>
                      </a:r>
                      <a:r>
                        <a:rPr lang="en-GB" sz="1200" dirty="0" smtClean="0">
                          <a:effectLst/>
                        </a:rPr>
                        <a:t>. This attribute is already send from CPQ to Siebel for Wav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PQ has to send this info to Seibel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Siebel has raised a CR to handle this. Check with Abrar on delivery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hange required in CPQ – Siebel </a:t>
                      </a:r>
                      <a:r>
                        <a:rPr lang="en-GB" sz="1200" dirty="0" smtClean="0">
                          <a:effectLst/>
                        </a:rPr>
                        <a:t>interfac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err="1" smtClean="0">
                          <a:effectLst/>
                        </a:rPr>
                        <a:t>wM</a:t>
                      </a:r>
                      <a:r>
                        <a:rPr lang="en-GB" sz="1200" dirty="0" smtClean="0">
                          <a:effectLst/>
                        </a:rPr>
                        <a:t>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Siebel – Accept and store at correct place</a:t>
                      </a:r>
                      <a:endParaRPr lang="en-GB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0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av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402660042"/>
                  </a:ext>
                </a:extLst>
              </a:tr>
              <a:tr h="40102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erformance Reporting </a:t>
                      </a:r>
                      <a:endParaRPr lang="en-GB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For Wave product, PR will be added as a new feature. This feature is not present in Wave product mode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Performance reporting is present in Siebel Live environment. Product Model update is required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 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PQ has to send PR to Siebel when selected in the Wave </a:t>
                      </a:r>
                      <a:r>
                        <a:rPr lang="en-GB" sz="1200" dirty="0" err="1">
                          <a:effectLst/>
                        </a:rPr>
                        <a:t>config</a:t>
                      </a:r>
                      <a:r>
                        <a:rPr lang="en-GB" sz="1200" dirty="0">
                          <a:effectLst/>
                        </a:rPr>
                        <a:t> </a:t>
                      </a:r>
                      <a:r>
                        <a:rPr lang="en-GB" sz="1200" dirty="0" smtClean="0">
                          <a:effectLst/>
                        </a:rPr>
                        <a:t>journey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 smtClean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Product Model change required to reflect what is already in</a:t>
                      </a:r>
                      <a:r>
                        <a:rPr lang="en-GB" sz="1200" baseline="0" dirty="0" smtClean="0">
                          <a:effectLst/>
                        </a:rPr>
                        <a:t> </a:t>
                      </a:r>
                      <a:r>
                        <a:rPr lang="en-GB" sz="1200" baseline="0" dirty="0" smtClean="0">
                          <a:effectLst/>
                        </a:rPr>
                        <a:t>Siebel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baseline="0" dirty="0" smtClean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err="1" smtClean="0">
                          <a:effectLst/>
                        </a:rPr>
                        <a:t>wM</a:t>
                      </a:r>
                      <a:r>
                        <a:rPr lang="en-GB" sz="1200" dirty="0" smtClean="0">
                          <a:effectLst/>
                        </a:rPr>
                        <a:t>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Siebel – Accept and store at correct place</a:t>
                      </a:r>
                      <a:endParaRPr lang="en-GB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0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av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509482619"/>
                  </a:ext>
                </a:extLst>
              </a:tr>
              <a:tr h="40102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ess Type </a:t>
                      </a:r>
                      <a:endParaRPr lang="en-GB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t is already send from CPQ to Siebel. For Asian countries there will be a new value for Access Type = ‘ULL Fibre’,  which will be send from CPQ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ree with the discussion on 17th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LOV will bee added in the exiting attribut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err="1" smtClean="0">
                          <a:effectLst/>
                        </a:rPr>
                        <a:t>wM</a:t>
                      </a:r>
                      <a:r>
                        <a:rPr lang="en-GB" sz="1200" dirty="0" smtClean="0">
                          <a:effectLst/>
                        </a:rPr>
                        <a:t>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Siebel – Accept and store at correct place</a:t>
                      </a:r>
                      <a:endParaRPr lang="en-GB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ndatory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50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. Not applicable for PS.</a:t>
                      </a:r>
                      <a:r>
                        <a:rPr lang="en-GB" sz="12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his is required for both A End and B End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6682694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418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7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Order Interface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9326397"/>
              </p:ext>
            </p:extLst>
          </p:nvPr>
        </p:nvGraphicFramePr>
        <p:xfrm>
          <a:off x="143689" y="666212"/>
          <a:ext cx="11874138" cy="4206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6773">
                  <a:extLst>
                    <a:ext uri="{9D8B030D-6E8A-4147-A177-3AD203B41FA5}">
                      <a16:colId xmlns:a16="http://schemas.microsoft.com/office/drawing/2014/main" val="4143855275"/>
                    </a:ext>
                  </a:extLst>
                </a:gridCol>
                <a:gridCol w="1176451">
                  <a:extLst>
                    <a:ext uri="{9D8B030D-6E8A-4147-A177-3AD203B41FA5}">
                      <a16:colId xmlns:a16="http://schemas.microsoft.com/office/drawing/2014/main" val="3415695082"/>
                    </a:ext>
                  </a:extLst>
                </a:gridCol>
                <a:gridCol w="861610">
                  <a:extLst>
                    <a:ext uri="{9D8B030D-6E8A-4147-A177-3AD203B41FA5}">
                      <a16:colId xmlns:a16="http://schemas.microsoft.com/office/drawing/2014/main" val="1478477753"/>
                    </a:ext>
                  </a:extLst>
                </a:gridCol>
                <a:gridCol w="1213824">
                  <a:extLst>
                    <a:ext uri="{9D8B030D-6E8A-4147-A177-3AD203B41FA5}">
                      <a16:colId xmlns:a16="http://schemas.microsoft.com/office/drawing/2014/main" val="2949764307"/>
                    </a:ext>
                  </a:extLst>
                </a:gridCol>
                <a:gridCol w="1287580">
                  <a:extLst>
                    <a:ext uri="{9D8B030D-6E8A-4147-A177-3AD203B41FA5}">
                      <a16:colId xmlns:a16="http://schemas.microsoft.com/office/drawing/2014/main" val="725364234"/>
                    </a:ext>
                  </a:extLst>
                </a:gridCol>
                <a:gridCol w="1287580">
                  <a:extLst>
                    <a:ext uri="{9D8B030D-6E8A-4147-A177-3AD203B41FA5}">
                      <a16:colId xmlns:a16="http://schemas.microsoft.com/office/drawing/2014/main" val="1377987631"/>
                    </a:ext>
                  </a:extLst>
                </a:gridCol>
                <a:gridCol w="1287580">
                  <a:extLst>
                    <a:ext uri="{9D8B030D-6E8A-4147-A177-3AD203B41FA5}">
                      <a16:colId xmlns:a16="http://schemas.microsoft.com/office/drawing/2014/main" val="1630199536"/>
                    </a:ext>
                  </a:extLst>
                </a:gridCol>
                <a:gridCol w="1287580">
                  <a:extLst>
                    <a:ext uri="{9D8B030D-6E8A-4147-A177-3AD203B41FA5}">
                      <a16:colId xmlns:a16="http://schemas.microsoft.com/office/drawing/2014/main" val="3948283564"/>
                    </a:ext>
                  </a:extLst>
                </a:gridCol>
                <a:gridCol w="1287580">
                  <a:extLst>
                    <a:ext uri="{9D8B030D-6E8A-4147-A177-3AD203B41FA5}">
                      <a16:colId xmlns:a16="http://schemas.microsoft.com/office/drawing/2014/main" val="4253859642"/>
                    </a:ext>
                  </a:extLst>
                </a:gridCol>
                <a:gridCol w="1287580">
                  <a:extLst>
                    <a:ext uri="{9D8B030D-6E8A-4147-A177-3AD203B41FA5}">
                      <a16:colId xmlns:a16="http://schemas.microsoft.com/office/drawing/2014/main" val="3961116423"/>
                    </a:ext>
                  </a:extLst>
                </a:gridCol>
              </a:tblGrid>
              <a:tr h="1002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ttribute Nam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Discussion – 17</a:t>
                      </a:r>
                      <a:r>
                        <a:rPr lang="en-GB" sz="1200" baseline="30000">
                          <a:effectLst/>
                        </a:rPr>
                        <a:t>th</a:t>
                      </a:r>
                      <a:r>
                        <a:rPr lang="en-GB" sz="1200">
                          <a:effectLst/>
                        </a:rPr>
                        <a:t> Dec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Action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4200" marR="3420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Discussion – 18</a:t>
                      </a:r>
                      <a:r>
                        <a:rPr lang="en-GB" sz="1200" baseline="30000">
                          <a:effectLst/>
                        </a:rPr>
                        <a:t>th</a:t>
                      </a:r>
                      <a:r>
                        <a:rPr lang="en-GB" sz="1200">
                          <a:effectLst/>
                        </a:rPr>
                        <a:t> Dec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Impac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ndatory/Optional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Length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ata Typ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duct Impacted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884459064"/>
                  </a:ext>
                </a:extLst>
              </a:tr>
              <a:tr h="401021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TT GC office</a:t>
                      </a:r>
                      <a:endParaRPr lang="en-GB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GB" sz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o be confirmed with Gaurav 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PQ can send this for GC/Central office for Japan, Hong Kong and Singapor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iebel does not need this info from CPQ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iebel planned to get  this info from Premise master which later descoped as this information is not required in SD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 change in the Manage Order interface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</a:t>
                      </a:r>
                      <a:endParaRPr lang="en-GB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A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421083878"/>
                  </a:ext>
                </a:extLst>
              </a:tr>
              <a:tr h="401021">
                <a:tc>
                  <a:txBody>
                    <a:bodyPr/>
                    <a:lstStyle/>
                    <a:p>
                      <a:pPr fontAlgn="t"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L fiber suppliers </a:t>
                      </a:r>
                      <a:endParaRPr lang="en-GB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hould be mapped with 3</a:t>
                      </a:r>
                      <a:r>
                        <a:rPr lang="en-US" sz="1200" baseline="30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d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party supplier.</a:t>
                      </a:r>
                      <a:endParaRPr lang="en-GB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PQ does not send 3</a:t>
                      </a:r>
                      <a:r>
                        <a:rPr lang="en-GB" sz="1200" baseline="300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d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Party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Supplier attribute to Siebel . Hence new field has to be created </a:t>
                      </a:r>
                      <a:endParaRPr lang="en-GB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r>
                        <a:rPr lang="en-GB" sz="1200" dirty="0" smtClean="0">
                          <a:effectLst/>
                        </a:rPr>
                        <a:t>XSD Change– Already do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err="1" smtClean="0">
                          <a:effectLst/>
                        </a:rPr>
                        <a:t>wM</a:t>
                      </a:r>
                      <a:r>
                        <a:rPr lang="en-GB" sz="1200" dirty="0" smtClean="0">
                          <a:effectLst/>
                        </a:rPr>
                        <a:t> - Mapp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Siebel – Accept and store at correct place</a:t>
                      </a:r>
                      <a:endParaRPr lang="en-GB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Optional</a:t>
                      </a:r>
                      <a:endParaRPr lang="en-GB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40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Varcha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neric Implementation required . Impact all available product . Not applicable for PS.</a:t>
                      </a:r>
                      <a:r>
                        <a:rPr lang="en-GB" sz="12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GB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his is required for both A End and B End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156501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9063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8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PQ Asia: C4C –</a:t>
            </a:r>
            <a:r>
              <a:rPr lang="en-GB" dirty="0" err="1" smtClean="0"/>
              <a:t>wM</a:t>
            </a:r>
            <a:r>
              <a:rPr lang="en-GB" dirty="0" smtClean="0"/>
              <a:t> – CPQ Interface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2010362"/>
              </p:ext>
            </p:extLst>
          </p:nvPr>
        </p:nvGraphicFramePr>
        <p:xfrm>
          <a:off x="305880" y="681085"/>
          <a:ext cx="11294240" cy="50270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2373">
                  <a:extLst>
                    <a:ext uri="{9D8B030D-6E8A-4147-A177-3AD203B41FA5}">
                      <a16:colId xmlns:a16="http://schemas.microsoft.com/office/drawing/2014/main" val="2252114731"/>
                    </a:ext>
                  </a:extLst>
                </a:gridCol>
                <a:gridCol w="1536366">
                  <a:extLst>
                    <a:ext uri="{9D8B030D-6E8A-4147-A177-3AD203B41FA5}">
                      <a16:colId xmlns:a16="http://schemas.microsoft.com/office/drawing/2014/main" val="731088877"/>
                    </a:ext>
                  </a:extLst>
                </a:gridCol>
                <a:gridCol w="1655455">
                  <a:extLst>
                    <a:ext uri="{9D8B030D-6E8A-4147-A177-3AD203B41FA5}">
                      <a16:colId xmlns:a16="http://schemas.microsoft.com/office/drawing/2014/main" val="3606526654"/>
                    </a:ext>
                  </a:extLst>
                </a:gridCol>
                <a:gridCol w="2424224">
                  <a:extLst>
                    <a:ext uri="{9D8B030D-6E8A-4147-A177-3AD203B41FA5}">
                      <a16:colId xmlns:a16="http://schemas.microsoft.com/office/drawing/2014/main" val="3732351938"/>
                    </a:ext>
                  </a:extLst>
                </a:gridCol>
                <a:gridCol w="1913449">
                  <a:extLst>
                    <a:ext uri="{9D8B030D-6E8A-4147-A177-3AD203B41FA5}">
                      <a16:colId xmlns:a16="http://schemas.microsoft.com/office/drawing/2014/main" val="2873809146"/>
                    </a:ext>
                  </a:extLst>
                </a:gridCol>
                <a:gridCol w="1882373">
                  <a:extLst>
                    <a:ext uri="{9D8B030D-6E8A-4147-A177-3AD203B41FA5}">
                      <a16:colId xmlns:a16="http://schemas.microsoft.com/office/drawing/2014/main" val="2445005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C4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Field Leng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Field</a:t>
                      </a:r>
                      <a:r>
                        <a:rPr lang="en-GB" baseline="0" dirty="0" smtClean="0"/>
                        <a:t> Typ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Webservice</a:t>
                      </a:r>
                      <a:r>
                        <a:rPr lang="en-GB" dirty="0" smtClean="0"/>
                        <a:t> Impac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w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CPQ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38838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Account Name (Asia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56(tbc by Shanmathi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Varch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getAccount&amp;Oppurtunitydetail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lready mapp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To be shown on general</a:t>
                      </a:r>
                      <a:r>
                        <a:rPr lang="en-GB" baseline="0" dirty="0" smtClean="0"/>
                        <a:t> informa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20657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Account Address (Asia)</a:t>
                      </a:r>
                      <a:endParaRPr lang="en-US" dirty="0" smtClean="0"/>
                    </a:p>
                    <a:p>
                      <a:endParaRPr lang="en-GB" dirty="0" smtClean="0"/>
                    </a:p>
                    <a:p>
                      <a:r>
                        <a:rPr lang="en-GB" dirty="0" smtClean="0"/>
                        <a:t>(Legal</a:t>
                      </a:r>
                      <a:r>
                        <a:rPr lang="en-GB" baseline="0" dirty="0" smtClean="0"/>
                        <a:t> Address (Asia))</a:t>
                      </a:r>
                      <a:endParaRPr lang="en-GB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56(tbc by Shanmathi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Varch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err="1" smtClean="0"/>
                        <a:t>getAccount&amp;Oppurtunitydetails</a:t>
                      </a:r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lready mapp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CPQ has to map this and shown on general informa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71769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Account Address Country Name (to be confirmed on</a:t>
                      </a:r>
                      <a:r>
                        <a:rPr lang="en-GB" baseline="0" dirty="0" smtClean="0"/>
                        <a:t> the call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lready mapp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lready provided to CPQ. Shreeya confirmed</a:t>
                      </a:r>
                      <a:r>
                        <a:rPr lang="en-GB" baseline="0" dirty="0" smtClean="0"/>
                        <a:t> that country name is available for CPQ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36506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0120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67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1C6D3D9588334DBADF6A4394F92A1A" ma:contentTypeVersion="915" ma:contentTypeDescription="Create a new document." ma:contentTypeScope="" ma:versionID="7654ba59b25d4f121c231d8ce332aa67">
  <xsd:schema xmlns:xsd="http://www.w3.org/2001/XMLSchema" xmlns:xs="http://www.w3.org/2001/XMLSchema" xmlns:p="http://schemas.microsoft.com/office/2006/metadata/properties" xmlns:ns2="450c2c13-7744-47da-b0b3-ec9a261364d9" xmlns:ns3="bfb1d42a-be00-49d6-98c3-ab38162f85f2" targetNamespace="http://schemas.microsoft.com/office/2006/metadata/properties" ma:root="true" ma:fieldsID="7de171cb582de5035ab811f51f095a2c" ns2:_="" ns3:_="">
    <xsd:import namespace="450c2c13-7744-47da-b0b3-ec9a261364d9"/>
    <xsd:import namespace="bfb1d42a-be00-49d6-98c3-ab38162f85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0c2c13-7744-47da-b0b3-ec9a261364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b1d42a-be00-49d6-98c3-ab38162f85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A55515-6302-4B67-B9B0-F11CD9E32D11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450c2c13-7744-47da-b0b3-ec9a261364d9"/>
    <ds:schemaRef ds:uri="http://schemas.openxmlformats.org/package/2006/metadata/core-properties"/>
    <ds:schemaRef ds:uri="http://schemas.microsoft.com/office/2006/documentManagement/types"/>
    <ds:schemaRef ds:uri="bfb1d42a-be00-49d6-98c3-ab38162f85f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D6B9490-E1FC-4770-9817-60D21D1E62D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379B9B-953D-4F91-BAF5-43F1184F3E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0c2c13-7744-47da-b0b3-ec9a261364d9"/>
    <ds:schemaRef ds:uri="bfb1d42a-be00-49d6-98c3-ab38162f85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988</TotalTime>
  <Words>1377</Words>
  <Application>Microsoft Office PowerPoint</Application>
  <PresentationFormat>Widescreen</PresentationFormat>
  <Paragraphs>302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3" baseType="lpstr">
      <vt:lpstr>Arial</vt:lpstr>
      <vt:lpstr>Calibri</vt:lpstr>
      <vt:lpstr>Courier New</vt:lpstr>
      <vt:lpstr>GothamBlack</vt:lpstr>
      <vt:lpstr>Open Sans</vt:lpstr>
      <vt:lpstr>Oswald</vt:lpstr>
      <vt:lpstr>Segoe UI Light</vt:lpstr>
      <vt:lpstr>Times New Roman</vt:lpstr>
      <vt:lpstr>Wingdings</vt:lpstr>
      <vt:lpstr>Corporate template-set COLT</vt:lpstr>
      <vt:lpstr>1_Corporate template-set COLT</vt:lpstr>
      <vt:lpstr>2_Corporate template-set COLT</vt:lpstr>
      <vt:lpstr>3_Corporate template-set COLT</vt:lpstr>
      <vt:lpstr>think-cell Slide</vt:lpstr>
      <vt:lpstr>CPQ – Asia Alignment  Design and Mock Up Nov ‘19</vt:lpstr>
      <vt:lpstr>Document Release and Change Log Details</vt:lpstr>
      <vt:lpstr>Manage Order Interface </vt:lpstr>
      <vt:lpstr>Manage Order Interface </vt:lpstr>
      <vt:lpstr>Manage Order Interface </vt:lpstr>
      <vt:lpstr>Manage Order Interface </vt:lpstr>
      <vt:lpstr>Manage Order Interface </vt:lpstr>
      <vt:lpstr>CPQ Asia: C4C –wM – CPQ Interface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Upadhyay, Saurabh</cp:lastModifiedBy>
  <cp:revision>1781</cp:revision>
  <dcterms:created xsi:type="dcterms:W3CDTF">2017-08-30T16:21:34Z</dcterms:created>
  <dcterms:modified xsi:type="dcterms:W3CDTF">2020-01-14T08:5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TECHMAHINDRA\PR00623017</vt:lpwstr>
  </property>
  <property fmtid="{D5CDD505-2E9C-101B-9397-08002B2CF9AE}" pid="4" name="DLPManualFileClassificationLastModificationDate">
    <vt:lpwstr>1567770010</vt:lpwstr>
  </property>
  <property fmtid="{D5CDD505-2E9C-101B-9397-08002B2CF9AE}" pid="5" name="DLPManualFileClassificationVersion">
    <vt:lpwstr>11.1.0.61</vt:lpwstr>
  </property>
  <property fmtid="{D5CDD505-2E9C-101B-9397-08002B2CF9AE}" pid="6" name="ContentTypeId">
    <vt:lpwstr>0x010100A11C6D3D9588334DBADF6A4394F92A1A</vt:lpwstr>
  </property>
</Properties>
</file>